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095625" cy="914400"/>
  <p:notesSz cx="7102475" cy="10233025"/>
  <p:custDataLst>
    <p:tags r:id="rId3"/>
  </p:custDataLst>
  <p:defaultTextStyle>
    <a:defPPr>
      <a:defRPr lang="de-DE"/>
    </a:defPPr>
    <a:lvl1pPr marL="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1pPr>
    <a:lvl2pPr marL="12939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2pPr>
    <a:lvl3pPr marL="25878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3pPr>
    <a:lvl4pPr marL="388183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4pPr>
    <a:lvl5pPr marL="51757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5pPr>
    <a:lvl6pPr marL="646972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6pPr>
    <a:lvl7pPr marL="776367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7pPr>
    <a:lvl8pPr marL="90576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8pPr>
    <a:lvl9pPr marL="103515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" userDrawn="1">
          <p15:clr>
            <a:srgbClr val="A4A3A4"/>
          </p15:clr>
        </p15:guide>
        <p15:guide id="2" pos="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38" autoAdjust="0"/>
    <p:restoredTop sz="94660"/>
  </p:normalViewPr>
  <p:slideViewPr>
    <p:cSldViewPr>
      <p:cViewPr>
        <p:scale>
          <a:sx n="400" d="100"/>
          <a:sy n="400" d="100"/>
        </p:scale>
        <p:origin x="480" y="1296"/>
      </p:cViewPr>
      <p:guideLst>
        <p:guide orient="horz" pos="288"/>
        <p:guide pos="9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918998007500915E-2"/>
          <c:y val="7.7519379844961257E-3"/>
          <c:w val="0.98608100199249904"/>
          <c:h val="0.9922480620155038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L1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B$2:$B$653</c:f>
              <c:numCache>
                <c:formatCode>General</c:formatCode>
                <c:ptCount val="652"/>
                <c:pt idx="0">
                  <c:v>-1.2325683343243901</c:v>
                </c:pt>
                <c:pt idx="1">
                  <c:v>-6.6456414414384701</c:v>
                </c:pt>
                <c:pt idx="2">
                  <c:v>-12.072802869080601</c:v>
                </c:pt>
                <c:pt idx="3">
                  <c:v>-17.485875976194698</c:v>
                </c:pt>
                <c:pt idx="4">
                  <c:v>-22.905376959405601</c:v>
                </c:pt>
                <c:pt idx="5">
                  <c:v>-28.326110510950901</c:v>
                </c:pt>
                <c:pt idx="6">
                  <c:v>-33.745611494161899</c:v>
                </c:pt>
                <c:pt idx="7">
                  <c:v>-39.158684601276001</c:v>
                </c:pt>
                <c:pt idx="8">
                  <c:v>-44.585846028918098</c:v>
                </c:pt>
                <c:pt idx="9">
                  <c:v>-49.9989191360322</c:v>
                </c:pt>
                <c:pt idx="10">
                  <c:v>-55.418420119243102</c:v>
                </c:pt>
                <c:pt idx="11">
                  <c:v>-60.839153670788399</c:v>
                </c:pt>
                <c:pt idx="12">
                  <c:v>-66.258654653999301</c:v>
                </c:pt>
                <c:pt idx="13">
                  <c:v>-71.671727761113402</c:v>
                </c:pt>
                <c:pt idx="14">
                  <c:v>-77.098889188755606</c:v>
                </c:pt>
                <c:pt idx="15">
                  <c:v>-82.51196229586969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13C-491B-A5E6-DF14310D3038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1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C$2:$C$653</c:f>
              <c:numCache>
                <c:formatCode>0.00</c:formatCode>
                <c:ptCount val="652"/>
                <c:pt idx="16" formatCode="General">
                  <c:v>-82.511962295869694</c:v>
                </c:pt>
                <c:pt idx="17" formatCode="General">
                  <c:v>-87.931463279080603</c:v>
                </c:pt>
                <c:pt idx="18" formatCode="General">
                  <c:v>-93.338108510097797</c:v>
                </c:pt>
                <c:pt idx="19" formatCode="General">
                  <c:v>-98.744753741115005</c:v>
                </c:pt>
                <c:pt idx="20" formatCode="General">
                  <c:v>-104.130882775507</c:v>
                </c:pt>
                <c:pt idx="21" formatCode="General">
                  <c:v>-109.49772818160901</c:v>
                </c:pt>
                <c:pt idx="22" formatCode="General">
                  <c:v>-114.836396946655</c:v>
                </c:pt>
                <c:pt idx="23" formatCode="General">
                  <c:v>-120.142926331216</c:v>
                </c:pt>
                <c:pt idx="24" formatCode="General">
                  <c:v>-125.41485119862401</c:v>
                </c:pt>
                <c:pt idx="25" formatCode="General">
                  <c:v>-130.63931579668599</c:v>
                </c:pt>
                <c:pt idx="26" formatCode="General">
                  <c:v>-135.823980569832</c:v>
                </c:pt>
                <c:pt idx="27" formatCode="General">
                  <c:v>-140.940668877006</c:v>
                </c:pt>
                <c:pt idx="28" formatCode="General">
                  <c:v>-146.017557359265</c:v>
                </c:pt>
                <c:pt idx="29" formatCode="General">
                  <c:v>-151.01238105502401</c:v>
                </c:pt>
                <c:pt idx="30" formatCode="General">
                  <c:v>-155.94046085314599</c:v>
                </c:pt>
                <c:pt idx="31" formatCode="General">
                  <c:v>-160.80056418529699</c:v>
                </c:pt>
                <c:pt idx="32" formatCode="General">
                  <c:v>-165.57340742318499</c:v>
                </c:pt>
                <c:pt idx="33" formatCode="General">
                  <c:v>-170.25652543014201</c:v>
                </c:pt>
                <c:pt idx="34" formatCode="General">
                  <c:v>-174.84595546674001</c:v>
                </c:pt>
                <c:pt idx="35" formatCode="General">
                  <c:v>-179.33923239631099</c:v>
                </c:pt>
                <c:pt idx="36" formatCode="General">
                  <c:v>-183.72473303499399</c:v>
                </c:pt>
                <c:pt idx="37" formatCode="General">
                  <c:v>-187.99356437002399</c:v>
                </c:pt>
                <c:pt idx="38" formatCode="General">
                  <c:v>-192.146958969737</c:v>
                </c:pt>
                <c:pt idx="39" formatCode="General">
                  <c:v>-196.170828513602</c:v>
                </c:pt>
                <c:pt idx="40" formatCode="General">
                  <c:v>-200.063940433288</c:v>
                </c:pt>
                <c:pt idx="41" formatCode="General">
                  <c:v>-203.82752729712601</c:v>
                </c:pt>
                <c:pt idx="42" formatCode="General">
                  <c:v>-207.433412464063</c:v>
                </c:pt>
                <c:pt idx="43" formatCode="General">
                  <c:v>-210.89445168629001</c:v>
                </c:pt>
                <c:pt idx="44" formatCode="General">
                  <c:v>-214.19012876718401</c:v>
                </c:pt>
                <c:pt idx="45" formatCode="General">
                  <c:v>-217.32810415117501</c:v>
                </c:pt>
                <c:pt idx="46" formatCode="General">
                  <c:v>-220.293056949402</c:v>
                </c:pt>
                <c:pt idx="47" formatCode="General">
                  <c:v>-223.07089884133501</c:v>
                </c:pt>
                <c:pt idx="48" formatCode="General">
                  <c:v>-225.66929027140699</c:v>
                </c:pt>
                <c:pt idx="49" formatCode="General">
                  <c:v>-228.072910350755</c:v>
                </c:pt>
                <c:pt idx="50" formatCode="General">
                  <c:v>-230.26767075884999</c:v>
                </c:pt>
                <c:pt idx="51" formatCode="General">
                  <c:v>-232.26123194012399</c:v>
                </c:pt>
                <c:pt idx="52" formatCode="General">
                  <c:v>-234.04470088181199</c:v>
                </c:pt>
                <c:pt idx="53" formatCode="General">
                  <c:v>-235.59756138728901</c:v>
                </c:pt>
                <c:pt idx="54" formatCode="General">
                  <c:v>-236.92624133265099</c:v>
                </c:pt>
                <c:pt idx="55" formatCode="General">
                  <c:v>-238.01541982903601</c:v>
                </c:pt>
                <c:pt idx="56" formatCode="General">
                  <c:v>-238.866329444777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13C-491B-A5E6-DF14310D3038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Arc</c:v>
                </c:pt>
              </c:strCache>
            </c:strRef>
          </c:tx>
          <c:spPr>
            <a:ln w="12700" cap="flat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D$2:$D$653</c:f>
              <c:numCache>
                <c:formatCode>0.00</c:formatCode>
                <c:ptCount val="652"/>
                <c:pt idx="57" formatCode="General">
                  <c:v>-238.86632944477799</c:v>
                </c:pt>
                <c:pt idx="58" formatCode="General">
                  <c:v>-239.470077167113</c:v>
                </c:pt>
                <c:pt idx="59" formatCode="General">
                  <c:v>-239.81900255160801</c:v>
                </c:pt>
                <c:pt idx="60" formatCode="General">
                  <c:v>-239.91953347436001</c:v>
                </c:pt>
                <c:pt idx="61" formatCode="General">
                  <c:v>-239.779330379801</c:v>
                </c:pt>
                <c:pt idx="62" formatCode="General">
                  <c:v>-239.38307237906901</c:v>
                </c:pt>
                <c:pt idx="63" formatCode="General">
                  <c:v>-238.72309902773199</c:v>
                </c:pt>
                <c:pt idx="64" formatCode="General">
                  <c:v>-237.83401484294299</c:v>
                </c:pt>
                <c:pt idx="65" formatCode="General">
                  <c:v>-236.687643183646</c:v>
                </c:pt>
                <c:pt idx="66" formatCode="General">
                  <c:v>-235.28917935760299</c:v>
                </c:pt>
                <c:pt idx="67" formatCode="General">
                  <c:v>-233.65394425367799</c:v>
                </c:pt>
                <c:pt idx="68" formatCode="General">
                  <c:v>-231.758956538576</c:v>
                </c:pt>
                <c:pt idx="69" formatCode="General">
                  <c:v>-229.632392853353</c:v>
                </c:pt>
                <c:pt idx="70" formatCode="General">
                  <c:v>-227.252504433051</c:v>
                </c:pt>
                <c:pt idx="71" formatCode="General">
                  <c:v>-224.63980747429301</c:v>
                </c:pt>
                <c:pt idx="72" formatCode="General">
                  <c:v>-221.780213656553</c:v>
                </c:pt>
                <c:pt idx="73" formatCode="General">
                  <c:v>-218.680150855927</c:v>
                </c:pt>
                <c:pt idx="74" formatCode="General">
                  <c:v>-215.352474824609</c:v>
                </c:pt>
                <c:pt idx="75" formatCode="General">
                  <c:v>-211.78309724207</c:v>
                </c:pt>
                <c:pt idx="76" formatCode="General">
                  <c:v>-207.98610642883901</c:v>
                </c:pt>
                <c:pt idx="77" formatCode="General">
                  <c:v>-203.95260937214999</c:v>
                </c:pt>
                <c:pt idx="78" formatCode="General">
                  <c:v>-199.690266516435</c:v>
                </c:pt>
                <c:pt idx="79" formatCode="General">
                  <c:v>-195.21316618222099</c:v>
                </c:pt>
                <c:pt idx="80" formatCode="General">
                  <c:v>-190.50475491231199</c:v>
                </c:pt>
                <c:pt idx="81" formatCode="General">
                  <c:v>-185.58801404000101</c:v>
                </c:pt>
                <c:pt idx="82" formatCode="General">
                  <c:v>-180.43996223199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F13C-491B-A5E6-DF14310D3038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2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ash"/>
              <a:miter lim="800000"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E$2:$E$653</c:f>
              <c:numCache>
                <c:formatCode>0.00</c:formatCode>
                <c:ptCount val="652"/>
                <c:pt idx="83" formatCode="General">
                  <c:v>-180.439962231994</c:v>
                </c:pt>
                <c:pt idx="84" formatCode="General">
                  <c:v>-175.08877612934899</c:v>
                </c:pt>
                <c:pt idx="85" formatCode="General">
                  <c:v>-169.534455732065</c:v>
                </c:pt>
                <c:pt idx="86" formatCode="General">
                  <c:v>-163.78342891623799</c:v>
                </c:pt>
                <c:pt idx="87" formatCode="General">
                  <c:v>-157.84335612629999</c:v>
                </c:pt>
                <c:pt idx="88" formatCode="General">
                  <c:v>-151.728325682779</c:v>
                </c:pt>
                <c:pt idx="89" formatCode="General">
                  <c:v>-145.43833758567499</c:v>
                </c:pt>
                <c:pt idx="90" formatCode="General">
                  <c:v>-138.97981971108501</c:v>
                </c:pt>
                <c:pt idx="91" formatCode="General">
                  <c:v>-132.36809294787099</c:v>
                </c:pt>
                <c:pt idx="92" formatCode="General">
                  <c:v>-125.60958517213</c:v>
                </c:pt>
                <c:pt idx="93" formatCode="General">
                  <c:v>-118.711956828293</c:v>
                </c:pt>
                <c:pt idx="94" formatCode="General">
                  <c:v>-111.681635792458</c:v>
                </c:pt>
                <c:pt idx="95" formatCode="General">
                  <c:v>-104.512194188527</c:v>
                </c:pt>
                <c:pt idx="96" formatCode="General">
                  <c:v>-97.233041225890005</c:v>
                </c:pt>
                <c:pt idx="97" formatCode="General">
                  <c:v>-89.836516460116997</c:v>
                </c:pt>
                <c:pt idx="98" formatCode="General">
                  <c:v>-82.322619891207495</c:v>
                </c:pt>
                <c:pt idx="99" formatCode="General">
                  <c:v>-74.713100284120699</c:v>
                </c:pt>
                <c:pt idx="100" formatCode="General">
                  <c:v>-67.009190207190997</c:v>
                </c:pt>
                <c:pt idx="101" formatCode="General">
                  <c:v>-59.209657092084001</c:v>
                </c:pt>
                <c:pt idx="102" formatCode="General">
                  <c:v>-51.3298218276623</c:v>
                </c:pt>
                <c:pt idx="103" formatCode="General">
                  <c:v>-43.369684413925498</c:v>
                </c:pt>
                <c:pt idx="104" formatCode="General">
                  <c:v>-35.336905295305101</c:v>
                </c:pt>
                <c:pt idx="105" formatCode="General">
                  <c:v>-27.2250565957041</c:v>
                </c:pt>
                <c:pt idx="106" formatCode="General">
                  <c:v>-19.0482266356507</c:v>
                </c:pt>
                <c:pt idx="107" formatCode="General">
                  <c:v>-10.8140758595761</c:v>
                </c:pt>
                <c:pt idx="108" formatCode="General">
                  <c:v>-2.5302647119111699</c:v>
                </c:pt>
                <c:pt idx="109" formatCode="General">
                  <c:v>5.8172951278718301</c:v>
                </c:pt>
                <c:pt idx="110" formatCode="General">
                  <c:v>14.1991944503825</c:v>
                </c:pt>
                <c:pt idx="111" formatCode="General">
                  <c:v>22.637182020580301</c:v>
                </c:pt>
                <c:pt idx="112" formatCode="General">
                  <c:v>31.109509073505698</c:v>
                </c:pt>
                <c:pt idx="113" formatCode="General">
                  <c:v>39.6149430408245</c:v>
                </c:pt>
                <c:pt idx="114" formatCode="General">
                  <c:v>48.159911798633601</c:v>
                </c:pt>
                <c:pt idx="115" formatCode="General">
                  <c:v>56.731559594739302</c:v>
                </c:pt>
                <c:pt idx="116" formatCode="General">
                  <c:v>65.327421292472906</c:v>
                </c:pt>
                <c:pt idx="117" formatCode="General">
                  <c:v>73.948729460168593</c:v>
                </c:pt>
                <c:pt idx="118" formatCode="General">
                  <c:v>82.593018961157995</c:v>
                </c:pt>
                <c:pt idx="119" formatCode="General">
                  <c:v>91.239773598816001</c:v>
                </c:pt>
                <c:pt idx="120" formatCode="General">
                  <c:v>99.910742138101796</c:v>
                </c:pt>
                <c:pt idx="121" formatCode="General">
                  <c:v>108.589371121819</c:v>
                </c:pt>
                <c:pt idx="122" formatCode="General">
                  <c:v>117.26923267386999</c:v>
                </c:pt>
                <c:pt idx="123" formatCode="General">
                  <c:v>125.956754670353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F13C-491B-A5E6-DF14310D3038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L2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dPt>
            <c:idx val="138"/>
            <c:marker>
              <c:symbol val="none"/>
            </c:marker>
            <c:bubble3D val="0"/>
            <c:spPr>
              <a:ln w="12700" cap="flat">
                <a:solidFill>
                  <a:schemeClr val="tx1"/>
                </a:solidFill>
                <a:prstDash val="sysDot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F13C-491B-A5E6-DF14310D3038}"/>
              </c:ext>
            </c:extLst>
          </c:dPt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F$2:$F$653</c:f>
              <c:numCache>
                <c:formatCode>General</c:formatCode>
                <c:ptCount val="652"/>
                <c:pt idx="124">
                  <c:v>125.955099813652</c:v>
                </c:pt>
                <c:pt idx="125">
                  <c:v>134.63446635496501</c:v>
                </c:pt>
                <c:pt idx="126">
                  <c:v>143.321493276431</c:v>
                </c:pt>
                <c:pt idx="127">
                  <c:v>152.00852026217501</c:v>
                </c:pt>
                <c:pt idx="128">
                  <c:v>160.695547247919</c:v>
                </c:pt>
                <c:pt idx="129">
                  <c:v>169.38257416938501</c:v>
                </c:pt>
                <c:pt idx="130">
                  <c:v>178.06960115512899</c:v>
                </c:pt>
                <c:pt idx="131">
                  <c:v>186.748967696443</c:v>
                </c:pt>
                <c:pt idx="132">
                  <c:v>195.43599461790799</c:v>
                </c:pt>
                <c:pt idx="133">
                  <c:v>204.123021603653</c:v>
                </c:pt>
                <c:pt idx="134">
                  <c:v>212.81004858939701</c:v>
                </c:pt>
                <c:pt idx="135">
                  <c:v>221.497075575141</c:v>
                </c:pt>
                <c:pt idx="136">
                  <c:v>230.18410249660701</c:v>
                </c:pt>
                <c:pt idx="137">
                  <c:v>238.87112948235099</c:v>
                </c:pt>
                <c:pt idx="138">
                  <c:v>247.55049602366401</c:v>
                </c:pt>
                <c:pt idx="139">
                  <c:v>256.2375229451300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F13C-491B-A5E6-DF14310D3038}"/>
            </c:ext>
          </c:extLst>
        </c:ser>
        <c:dLbls>
          <c:dLblPos val="t"/>
          <c:showLegendKey val="0"/>
          <c:showVal val="0"/>
          <c:showCatName val="0"/>
          <c:showSerName val="0"/>
          <c:showPercent val="0"/>
          <c:showBubbleSize val="0"/>
        </c:dLbls>
        <c:axId val="659204336"/>
        <c:axId val="659204992"/>
      </c:scatterChart>
      <c:valAx>
        <c:axId val="659204336"/>
        <c:scaling>
          <c:orientation val="minMax"/>
          <c:max val="1100"/>
          <c:min val="0"/>
        </c:scaling>
        <c:delete val="1"/>
        <c:axPos val="b"/>
        <c:numFmt formatCode="0.00" sourceLinked="1"/>
        <c:majorTickMark val="out"/>
        <c:minorTickMark val="none"/>
        <c:tickLblPos val="nextTo"/>
        <c:crossAx val="659204992"/>
        <c:crosses val="autoZero"/>
        <c:crossBetween val="midCat"/>
      </c:valAx>
      <c:valAx>
        <c:axId val="659204992"/>
        <c:scaling>
          <c:orientation val="minMax"/>
          <c:max val="260"/>
          <c:min val="-250"/>
        </c:scaling>
        <c:delete val="1"/>
        <c:axPos val="l"/>
        <c:numFmt formatCode="General" sourceLinked="1"/>
        <c:majorTickMark val="out"/>
        <c:minorTickMark val="none"/>
        <c:tickLblPos val="nextTo"/>
        <c:crossAx val="659204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2172" y="284057"/>
            <a:ext cx="2631282" cy="19600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4348" y="518161"/>
            <a:ext cx="2166937" cy="23368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6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9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5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1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8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14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30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244331" y="36619"/>
            <a:ext cx="696516" cy="780204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4781" y="36619"/>
            <a:ext cx="2037954" cy="780204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533" y="587586"/>
            <a:ext cx="2631282" cy="181610"/>
          </a:xfrm>
        </p:spPr>
        <p:txBody>
          <a:bodyPr anchor="t"/>
          <a:lstStyle>
            <a:lvl1pPr algn="l">
              <a:defRPr sz="4518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4533" y="387563"/>
            <a:ext cx="2631282" cy="200025"/>
          </a:xfrm>
        </p:spPr>
        <p:txBody>
          <a:bodyPr anchor="b"/>
          <a:lstStyle>
            <a:lvl1pPr marL="0" indent="0">
              <a:buNone/>
              <a:defRPr sz="2259">
                <a:solidFill>
                  <a:schemeClr val="tx1">
                    <a:tint val="75000"/>
                  </a:schemeClr>
                </a:solidFill>
              </a:defRPr>
            </a:lvl1pPr>
            <a:lvl2pPr marL="516362" indent="0">
              <a:buNone/>
              <a:defRPr sz="2033">
                <a:solidFill>
                  <a:schemeClr val="tx1">
                    <a:tint val="75000"/>
                  </a:schemeClr>
                </a:solidFill>
              </a:defRPr>
            </a:lvl2pPr>
            <a:lvl3pPr marL="1032723" indent="0">
              <a:buNone/>
              <a:defRPr sz="1807">
                <a:solidFill>
                  <a:schemeClr val="tx1">
                    <a:tint val="75000"/>
                  </a:schemeClr>
                </a:solidFill>
              </a:defRPr>
            </a:lvl3pPr>
            <a:lvl4pPr marL="154908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4pPr>
            <a:lvl5pPr marL="2065447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5pPr>
            <a:lvl6pPr marL="2581808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6pPr>
            <a:lvl7pPr marL="309817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7pPr>
            <a:lvl8pPr marL="3614532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8pPr>
            <a:lvl9pPr marL="4130893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4787" y="213363"/>
            <a:ext cx="1367235" cy="603462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73614" y="213363"/>
            <a:ext cx="1367235" cy="603462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1" y="204682"/>
            <a:ext cx="1367772" cy="85302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4781" y="289985"/>
            <a:ext cx="1367772" cy="526838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72541" y="204682"/>
            <a:ext cx="1368309" cy="85302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72541" y="289985"/>
            <a:ext cx="1368309" cy="526838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7" y="36409"/>
            <a:ext cx="1018439" cy="154939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0304" y="36407"/>
            <a:ext cx="1730540" cy="780415"/>
          </a:xfrm>
        </p:spPr>
        <p:txBody>
          <a:bodyPr/>
          <a:lstStyle>
            <a:lvl1pPr>
              <a:defRPr sz="3614"/>
            </a:lvl1pPr>
            <a:lvl2pPr>
              <a:defRPr sz="3162"/>
            </a:lvl2pPr>
            <a:lvl3pPr>
              <a:defRPr sz="2711"/>
            </a:lvl3pPr>
            <a:lvl4pPr>
              <a:defRPr sz="2259"/>
            </a:lvl4pPr>
            <a:lvl5pPr>
              <a:defRPr sz="2259"/>
            </a:lvl5pPr>
            <a:lvl6pPr>
              <a:defRPr sz="2259"/>
            </a:lvl6pPr>
            <a:lvl7pPr>
              <a:defRPr sz="2259"/>
            </a:lvl7pPr>
            <a:lvl8pPr>
              <a:defRPr sz="2259"/>
            </a:lvl8pPr>
            <a:lvl9pPr>
              <a:defRPr sz="2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4787" y="191349"/>
            <a:ext cx="1018439" cy="625474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6768" y="640082"/>
            <a:ext cx="1857375" cy="75564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6768" y="81706"/>
            <a:ext cx="1857375" cy="548640"/>
          </a:xfrm>
        </p:spPr>
        <p:txBody>
          <a:bodyPr/>
          <a:lstStyle>
            <a:lvl1pPr marL="0" indent="0">
              <a:buNone/>
              <a:defRPr sz="3614"/>
            </a:lvl1pPr>
            <a:lvl2pPr marL="516362" indent="0">
              <a:buNone/>
              <a:defRPr sz="3162"/>
            </a:lvl2pPr>
            <a:lvl3pPr marL="1032723" indent="0">
              <a:buNone/>
              <a:defRPr sz="2711"/>
            </a:lvl3pPr>
            <a:lvl4pPr marL="1549085" indent="0">
              <a:buNone/>
              <a:defRPr sz="2259"/>
            </a:lvl4pPr>
            <a:lvl5pPr marL="2065447" indent="0">
              <a:buNone/>
              <a:defRPr sz="2259"/>
            </a:lvl5pPr>
            <a:lvl6pPr marL="2581808" indent="0">
              <a:buNone/>
              <a:defRPr sz="2259"/>
            </a:lvl6pPr>
            <a:lvl7pPr marL="3098170" indent="0">
              <a:buNone/>
              <a:defRPr sz="2259"/>
            </a:lvl7pPr>
            <a:lvl8pPr marL="3614532" indent="0">
              <a:buNone/>
              <a:defRPr sz="2259"/>
            </a:lvl8pPr>
            <a:lvl9pPr marL="4130893" indent="0">
              <a:buNone/>
              <a:defRPr sz="225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6768" y="715646"/>
            <a:ext cx="1857375" cy="107316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84563894"/>
              </p:ext>
            </p:extLst>
          </p:nvPr>
        </p:nvGraphicFramePr>
        <p:xfrm>
          <a:off x="537" y="214"/>
          <a:ext cx="538" cy="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37" y="214"/>
                        <a:ext cx="538" cy="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1"/>
            <a:ext cx="53744" cy="211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96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4785" y="36620"/>
            <a:ext cx="2786063" cy="152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5" y="213363"/>
            <a:ext cx="2786063" cy="6034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4784" y="847514"/>
            <a:ext cx="722312" cy="48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18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7676" y="847514"/>
            <a:ext cx="980281" cy="48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18535" y="847514"/>
            <a:ext cx="722312" cy="48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32723" rtl="0" eaLnBrk="1" latinLnBrk="0" hangingPunct="1">
        <a:spcBef>
          <a:spcPct val="0"/>
        </a:spcBef>
        <a:buNone/>
        <a:defRPr sz="496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7271" indent="-387271" algn="l" defTabSz="1032723" rtl="0" eaLnBrk="1" latinLnBrk="0" hangingPunct="1">
        <a:spcBef>
          <a:spcPct val="20000"/>
        </a:spcBef>
        <a:buFont typeface="Arial" pitchFamily="34" charset="0"/>
        <a:buChar char="•"/>
        <a:defRPr sz="3614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39088" indent="-322726" algn="l" defTabSz="1032723" rtl="0" eaLnBrk="1" latinLnBrk="0" hangingPunct="1">
        <a:spcBef>
          <a:spcPct val="20000"/>
        </a:spcBef>
        <a:buFont typeface="Arial" pitchFamily="34" charset="0"/>
        <a:buChar char="–"/>
        <a:defRPr sz="316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9090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71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807266" indent="-258181" algn="l" defTabSz="1032723" rtl="0" eaLnBrk="1" latinLnBrk="0" hangingPunct="1">
        <a:spcBef>
          <a:spcPct val="20000"/>
        </a:spcBef>
        <a:buFont typeface="Arial" pitchFamily="34" charset="0"/>
        <a:buChar char="–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323628" indent="-258181" algn="l" defTabSz="1032723" rtl="0" eaLnBrk="1" latinLnBrk="0" hangingPunct="1">
        <a:spcBef>
          <a:spcPct val="20000"/>
        </a:spcBef>
        <a:buFont typeface="Arial" pitchFamily="34" charset="0"/>
        <a:buChar char="»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39989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6pPr>
      <a:lvl7pPr marL="3356351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7pPr>
      <a:lvl8pPr marL="3872713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8pPr>
      <a:lvl9pPr marL="438907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1pPr>
      <a:lvl2pPr marL="51636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2pPr>
      <a:lvl3pPr marL="103272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3pPr>
      <a:lvl4pPr marL="1549085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4pPr>
      <a:lvl5pPr marL="2065447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5pPr>
      <a:lvl6pPr marL="2581808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6pPr>
      <a:lvl7pPr marL="309817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7pPr>
      <a:lvl8pPr marL="361453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8pPr>
      <a:lvl9pPr marL="413089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chart" Target="../charts/chart1.xml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26835"/>
              </p:ext>
            </p:extLst>
          </p:nvPr>
        </p:nvGraphicFramePr>
        <p:xfrm>
          <a:off x="-3739290" y="-3159256"/>
          <a:ext cx="1794" cy="1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39290" y="-3159256"/>
                        <a:ext cx="1794" cy="1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50679" y="225244"/>
            <a:ext cx="0" cy="628142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50682" y="853386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-75471" y="9220"/>
                <a:ext cx="471155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 xmlns:m="http://schemas.openxmlformats.org/officeDocument/2006/math">
                    <m:r>
                      <a:rPr lang="de-DE" sz="800" i="1" kern="0" dirty="0">
                        <a:solidFill>
                          <a:srgbClr val="171717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𝜅</m:t>
                    </m:r>
                  </m:oMath>
                </a14:m>
                <a:r>
                  <a:rPr lang="de-DE" sz="800" kern="0" dirty="0">
                    <a:solidFill>
                      <a:srgbClr val="17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1/m]</a:t>
                </a:r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471" y="9220"/>
                <a:ext cx="471155" cy="215444"/>
              </a:xfrm>
              <a:prstGeom prst="rect">
                <a:avLst/>
              </a:prstGeom>
              <a:blipFill>
                <a:blip r:embed="rId6"/>
                <a:stretch>
                  <a:fillRect b="-8571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115717" y="745664"/>
                <a:ext cx="419346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𝑠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[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𝑚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]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717" y="745664"/>
                <a:ext cx="419346" cy="21544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Gerader Verbinder 5"/>
          <p:cNvCxnSpPr/>
          <p:nvPr/>
        </p:nvCxnSpPr>
        <p:spPr>
          <a:xfrm>
            <a:off x="50682" y="853386"/>
            <a:ext cx="272997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899740" y="853386"/>
            <a:ext cx="216024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323679" y="427776"/>
            <a:ext cx="175289" cy="422271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H="1" flipV="1">
            <a:off x="724408" y="427776"/>
            <a:ext cx="175289" cy="422271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498965" y="427773"/>
            <a:ext cx="2254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686161" y="225246"/>
            <a:ext cx="0" cy="628291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686164" y="853534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560011" y="9368"/>
                <a:ext cx="391582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 xmlns:m="http://schemas.openxmlformats.org/officeDocument/2006/math">
                    <m:r>
                      <a:rPr lang="de-DE" sz="800" i="1" kern="0">
                        <a:solidFill>
                          <a:srgbClr val="171717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𝑦</m:t>
                    </m:r>
                  </m:oMath>
                </a14:m>
                <a:r>
                  <a:rPr lang="de-DE" sz="800" kern="0" dirty="0">
                    <a:solidFill>
                      <a:srgbClr val="17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m]</a:t>
                </a:r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0011" y="9368"/>
                <a:ext cx="391582" cy="215444"/>
              </a:xfrm>
              <a:prstGeom prst="rect">
                <a:avLst/>
              </a:prstGeom>
              <a:blipFill>
                <a:blip r:embed="rId8"/>
                <a:stretch>
                  <a:fillRect b="-8571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751199" y="745812"/>
                <a:ext cx="42672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[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𝑚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]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1199" y="745812"/>
                <a:ext cx="426720" cy="21544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7" name="Diagramm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3154541"/>
              </p:ext>
            </p:extLst>
          </p:nvPr>
        </p:nvGraphicFramePr>
        <p:xfrm>
          <a:off x="1715103" y="313184"/>
          <a:ext cx="1111951" cy="486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ANKy4CRjkggxgH1y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</Words>
  <Application>Microsoft Office PowerPoint</Application>
  <PresentationFormat>Benutzerdefiniert</PresentationFormat>
  <Paragraphs>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mbria Math</vt:lpstr>
      <vt:lpstr>Times New Roman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28</cp:revision>
  <cp:lastPrinted>2020-02-06T09:58:55Z</cp:lastPrinted>
  <dcterms:created xsi:type="dcterms:W3CDTF">2020-02-06T09:29:41Z</dcterms:created>
  <dcterms:modified xsi:type="dcterms:W3CDTF">2020-02-18T18:14:03Z</dcterms:modified>
</cp:coreProperties>
</file>